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1"/>
  </p:notesMasterIdLst>
  <p:handoutMasterIdLst>
    <p:handoutMasterId r:id="rId12"/>
  </p:handoutMasterIdLst>
  <p:sldIdLst>
    <p:sldId id="435" r:id="rId2"/>
    <p:sldId id="403" r:id="rId3"/>
    <p:sldId id="419" r:id="rId4"/>
    <p:sldId id="428" r:id="rId5"/>
    <p:sldId id="429" r:id="rId6"/>
    <p:sldId id="436" r:id="rId7"/>
    <p:sldId id="437" r:id="rId8"/>
    <p:sldId id="430" r:id="rId9"/>
    <p:sldId id="408" r:id="rId10"/>
  </p:sldIdLst>
  <p:sldSz cx="9906000" cy="6858000" type="A4"/>
  <p:notesSz cx="6797675" cy="9928225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4.08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4.08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4.08.202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7.jpe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2.xml"/><Relationship Id="rId3" Type="http://schemas.openxmlformats.org/officeDocument/2006/relationships/tags" Target="../tags/tag21.xml"/><Relationship Id="rId7" Type="http://schemas.openxmlformats.org/officeDocument/2006/relationships/oleObject" Target="../embeddings/oleObject10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9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3" y="1233216"/>
            <a:ext cx="7809532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II квартал 2024 года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на объектах ведения горных работ по добыче полезных ископаемых подземным способом и пользованием </a:t>
            </a:r>
            <a:r>
              <a:rPr lang="ru-RU" sz="2000" dirty="0" smtClean="0">
                <a:latin typeface="Arial Narrow" panose="020B0606020202030204" pitchFamily="34" charset="0"/>
              </a:rPr>
              <a:t>недрами</a:t>
            </a:r>
          </a:p>
          <a:p>
            <a:endParaRPr lang="en-US" sz="2000" dirty="0" smtClean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на объектах ведения горных работ по добыче открытым способом, переработкой полезных ископаемых и взрывными </a:t>
            </a:r>
            <a:r>
              <a:rPr lang="ru-RU" sz="2000" dirty="0" smtClean="0">
                <a:latin typeface="Arial Narrow" panose="020B0606020202030204" pitchFamily="34" charset="0"/>
              </a:rPr>
              <a:t>работами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облемных вопросах, возникающих при осуществлении контрольной (надзорной) деятельности за опасными производственными объектами «шахта», «разрез», «фабрика обогатительная»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вопросы </a:t>
            </a:r>
            <a:r>
              <a:rPr lang="ru-RU" sz="2000" dirty="0">
                <a:latin typeface="Arial Narrow" panose="020B0606020202030204" pitchFamily="34" charset="0"/>
              </a:rPr>
              <a:t>профилактики и противодействия </a:t>
            </a:r>
            <a:r>
              <a:rPr lang="ru-RU" sz="2000" dirty="0" smtClean="0">
                <a:latin typeface="Arial Narrow" panose="020B0606020202030204" pitchFamily="34" charset="0"/>
              </a:rPr>
              <a:t>коррупции.</a:t>
            </a:r>
          </a:p>
          <a:p>
            <a:endParaRPr lang="ru-RU" sz="18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170745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06084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45" y="3282999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45" y="444404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160" y="594928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31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8" y="64195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20" y="5916285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1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2" y="2348883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6" y="272472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6" y="4224267"/>
            <a:ext cx="7409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1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10" y="5663009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2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351292"/>
              </p:ext>
            </p:extLst>
          </p:nvPr>
        </p:nvGraphicFramePr>
        <p:xfrm>
          <a:off x="268624" y="1340769"/>
          <a:ext cx="9364897" cy="4646342"/>
        </p:xfrm>
        <a:graphic>
          <a:graphicData uri="http://schemas.openxmlformats.org/drawingml/2006/table">
            <a:tbl>
              <a:tblPr/>
              <a:tblGrid>
                <a:gridCol w="660082"/>
                <a:gridCol w="3864223"/>
                <a:gridCol w="1210148"/>
                <a:gridCol w="1210148"/>
                <a:gridCol w="1210148"/>
                <a:gridCol w="1210148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кв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. 202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 %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5,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0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4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3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3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1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7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5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6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0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7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66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2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16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702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34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946,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210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735,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3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917569"/>
              </p:ext>
            </p:extLst>
          </p:nvPr>
        </p:nvGraphicFramePr>
        <p:xfrm>
          <a:off x="283210" y="1415190"/>
          <a:ext cx="9220882" cy="5217362"/>
        </p:xfrm>
        <a:graphic>
          <a:graphicData uri="http://schemas.openxmlformats.org/drawingml/2006/table">
            <a:tbl>
              <a:tblPr/>
              <a:tblGrid>
                <a:gridCol w="607616"/>
                <a:gridCol w="3068650"/>
                <a:gridCol w="1584176"/>
                <a:gridCol w="1296144"/>
                <a:gridCol w="1641596"/>
                <a:gridCol w="1022700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0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61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2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9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0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80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6 83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 392,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 33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5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 930,5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4,9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58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20873" y="5589240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1695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>
                <a:latin typeface="Times New Roman"/>
                <a:ea typeface="Times New Roman"/>
              </a:rPr>
              <a:t>За 6 мес. 2023 год 646 предупреждений, за 6 мес. 2024 года – 533, плюс 340 административных штрафов заменены предупреждением; </a:t>
            </a:r>
            <a:endParaRPr lang="ru-RU" sz="1600" b="0" dirty="0" smtClean="0">
              <a:latin typeface="Times New Roman"/>
              <a:ea typeface="Times New Roman"/>
            </a:endParaRPr>
          </a:p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Объявлено </a:t>
            </a:r>
            <a:r>
              <a:rPr lang="ru-RU" sz="1600" b="0" dirty="0">
                <a:latin typeface="Times New Roman"/>
                <a:ea typeface="Times New Roman"/>
              </a:rPr>
              <a:t>920 предостережений о недопустимости нарушения обязательных требований; проведено 2493 профилактических мероприятия в виде консультирования поднадзорных субъектов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78" y="6093296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464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0635"/>
            <a:ext cx="83980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едприятиях за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6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месяцев 2024 года</a:t>
            </a:r>
            <a:endParaRPr kumimoji="0" lang="ru-RU" sz="24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27504" y="1700808"/>
            <a:ext cx="9289032" cy="395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</a:t>
            </a:r>
            <a:r>
              <a:rPr lang="ru-RU" sz="2000" b="0" u="sng" dirty="0" smtClean="0"/>
              <a:t>случаи:</a:t>
            </a:r>
            <a:endParaRPr lang="ru-RU" sz="2000" b="0" dirty="0" smtClean="0"/>
          </a:p>
          <a:p>
            <a:endParaRPr lang="ru-RU" sz="800" b="0" dirty="0"/>
          </a:p>
          <a:p>
            <a:pPr>
              <a:spcAft>
                <a:spcPts val="1000"/>
              </a:spcAft>
            </a:pPr>
            <a:r>
              <a:rPr lang="ru-RU" sz="1800" b="0" dirty="0" smtClean="0"/>
              <a:t>1</a:t>
            </a:r>
            <a:r>
              <a:rPr lang="ru-RU" sz="1800" b="0" dirty="0"/>
              <a:t>. 14.02.2024 - разрез «Заречный-Северный» АО «СУЭК Кузбасс» (Кемеровская обл.) возгорание под кабиной автосамосвала, водитель не покинул кабину - 1 смертельный.</a:t>
            </a:r>
          </a:p>
          <a:p>
            <a:pPr>
              <a:spcAft>
                <a:spcPts val="1000"/>
              </a:spcAft>
            </a:pPr>
            <a:r>
              <a:rPr lang="ru-RU" sz="1800" b="0" dirty="0"/>
              <a:t>2. 19.04.2024 - ООО </a:t>
            </a:r>
            <a:r>
              <a:rPr lang="ru-RU" sz="1800" b="0" dirty="0" smtClean="0"/>
              <a:t>«Шахта </a:t>
            </a:r>
            <a:r>
              <a:rPr lang="ru-RU" sz="1800" b="0" dirty="0" err="1" smtClean="0"/>
              <a:t>Усковская</a:t>
            </a:r>
            <a:r>
              <a:rPr lang="ru-RU" sz="1800" b="0" dirty="0" smtClean="0"/>
              <a:t>» </a:t>
            </a:r>
            <a:r>
              <a:rPr lang="ru-RU" sz="1800" b="0" dirty="0"/>
              <a:t>(Кемеровская обл.) электрослесарь получил </a:t>
            </a:r>
            <a:r>
              <a:rPr lang="ru-RU" sz="1800" b="0" dirty="0" err="1"/>
              <a:t>электротравму</a:t>
            </a:r>
            <a:r>
              <a:rPr lang="ru-RU" sz="1800" b="0" dirty="0"/>
              <a:t> при ведении работ по ревизии электрооборудования в действующей горной выработке – 1 смертельный.</a:t>
            </a:r>
          </a:p>
          <a:p>
            <a:pPr>
              <a:spcAft>
                <a:spcPts val="1000"/>
              </a:spcAft>
            </a:pPr>
            <a:r>
              <a:rPr lang="ru-RU" sz="1800" b="0" dirty="0"/>
              <a:t>3. АО «Кузнецкие ферросплавы» (Кемеровская обл.) при ведении работ по уборке </a:t>
            </a:r>
            <a:r>
              <a:rPr lang="ru-RU" sz="1800" b="0" dirty="0" err="1"/>
              <a:t>просыпей</a:t>
            </a:r>
            <a:r>
              <a:rPr lang="ru-RU" sz="1800" b="0" dirty="0"/>
              <a:t> шихтовых материалов </a:t>
            </a:r>
            <a:r>
              <a:rPr lang="ru-RU" sz="1800" b="0" dirty="0" err="1"/>
              <a:t>шихтовшика</a:t>
            </a:r>
            <a:r>
              <a:rPr lang="ru-RU" sz="1800" b="0" dirty="0"/>
              <a:t> затянуло в барабан ленточного конвейера– 1 смертельный.</a:t>
            </a:r>
          </a:p>
          <a:p>
            <a:pPr>
              <a:spcAft>
                <a:spcPts val="1000"/>
              </a:spcAft>
            </a:pPr>
            <a:r>
              <a:rPr lang="ru-RU" sz="1800" b="0" dirty="0"/>
              <a:t>4. 29.05.2024 - ООО «</a:t>
            </a:r>
            <a:r>
              <a:rPr lang="ru-RU" sz="1800" b="0" dirty="0" err="1"/>
              <a:t>Гурьевский</a:t>
            </a:r>
            <a:r>
              <a:rPr lang="ru-RU" sz="1800" b="0" dirty="0"/>
              <a:t> рудник» Карьер </a:t>
            </a:r>
            <a:r>
              <a:rPr lang="ru-RU" sz="1800" b="0" dirty="0" smtClean="0"/>
              <a:t>«</a:t>
            </a:r>
            <a:r>
              <a:rPr lang="ru-RU" sz="1800" b="0" dirty="0" err="1" smtClean="0"/>
              <a:t>Карачкинский</a:t>
            </a:r>
            <a:r>
              <a:rPr lang="ru-RU" sz="1800" b="0" dirty="0" smtClean="0"/>
              <a:t>» </a:t>
            </a:r>
            <a:r>
              <a:rPr lang="ru-RU" sz="1800" b="0" dirty="0"/>
              <a:t>(Кемеровская обл.) при ведении работ по уборке </a:t>
            </a:r>
            <a:r>
              <a:rPr lang="ru-RU" sz="1800" b="0" dirty="0" err="1"/>
              <a:t>просыпей</a:t>
            </a:r>
            <a:r>
              <a:rPr lang="ru-RU" sz="1800" b="0" dirty="0"/>
              <a:t> известняка дробильщик был зажатым между конвейерной лентой и роликом – 1 смертельный.</a:t>
            </a:r>
            <a:endParaRPr lang="ru-RU" sz="1800" b="0" dirty="0"/>
          </a:p>
        </p:txBody>
      </p:sp>
    </p:spTree>
    <p:extLst>
      <p:ext uri="{BB962C8B-B14F-4D97-AF65-F5344CB8AC3E}">
        <p14:creationId xmlns:p14="http://schemas.microsoft.com/office/powerpoint/2010/main" val="43977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70634"/>
            <a:ext cx="83980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аварийности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едприятиях </a:t>
            </a:r>
            <a:endParaRPr lang="ru-RU" sz="2400" b="0" u="sng" kern="0" dirty="0" smtClean="0">
              <a:solidFill>
                <a:sysClr val="windowText" lastClr="000000"/>
              </a:solidFill>
              <a:cs typeface="Times New Roman" panose="02020603050405020304" pitchFamily="18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за </a:t>
            </a:r>
            <a:r>
              <a:rPr lang="ru-RU" sz="24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6 </a:t>
            </a:r>
            <a:r>
              <a:rPr lang="ru-RU" sz="24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месяцев 2024 года</a:t>
            </a:r>
            <a:endParaRPr kumimoji="0" lang="ru-RU" sz="24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0512" y="1556792"/>
            <a:ext cx="9145015" cy="460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 smtClean="0"/>
              <a:t>Аварии :</a:t>
            </a:r>
          </a:p>
          <a:p>
            <a:endParaRPr lang="ru-RU" sz="800" b="0" dirty="0"/>
          </a:p>
          <a:p>
            <a:pPr>
              <a:spcAft>
                <a:spcPts val="1000"/>
              </a:spcAft>
            </a:pPr>
            <a:r>
              <a:rPr lang="ru-RU" sz="1600" b="0" dirty="0"/>
              <a:t>1. 10.01.2024 - филиал ПАО </a:t>
            </a:r>
            <a:r>
              <a:rPr lang="ru-RU" sz="1600" b="0" dirty="0" smtClean="0"/>
              <a:t>«</a:t>
            </a:r>
            <a:r>
              <a:rPr lang="ru-RU" sz="1600" b="0" dirty="0" err="1" smtClean="0"/>
              <a:t>Россети</a:t>
            </a:r>
            <a:r>
              <a:rPr lang="ru-RU" sz="1600" b="0" dirty="0" smtClean="0"/>
              <a:t>» </a:t>
            </a:r>
            <a:r>
              <a:rPr lang="ru-RU" sz="1600" b="0" dirty="0"/>
              <a:t>- Западно-Сибирское предприятие МЭС (Омская область) отключение электроэнергии, приведшей к нарушению в работе противоаварийной автоматики, вызвавшей прекращение электроснабжения потребителей электрической энергии Омской области, суммарная мощность потребления которых составляет 312 МВт (сбой в работе </a:t>
            </a:r>
            <a:r>
              <a:rPr lang="ru-RU" sz="1600" b="0" dirty="0" err="1"/>
              <a:t>жд</a:t>
            </a:r>
            <a:r>
              <a:rPr lang="ru-RU" sz="1600" b="0" dirty="0"/>
              <a:t>/транспорта)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2. 22.02.2024 - АО «</a:t>
            </a:r>
            <a:r>
              <a:rPr lang="ru-RU" sz="1600" b="0" dirty="0" err="1"/>
              <a:t>Томскнефть</a:t>
            </a:r>
            <a:r>
              <a:rPr lang="ru-RU" sz="1600" b="0" dirty="0"/>
              <a:t>» ВНК (Томская обл.), при осуществлении работ бригадой ООО «PH-Сервис» на скважине произошло </a:t>
            </a:r>
            <a:r>
              <a:rPr lang="ru-RU" sz="1600" b="0" dirty="0" err="1"/>
              <a:t>газонефтеводопроявление</a:t>
            </a:r>
            <a:r>
              <a:rPr lang="ru-RU" sz="1600" b="0" dirty="0"/>
              <a:t> (ГНВП), вследствие чего произошло возгорание </a:t>
            </a:r>
            <a:r>
              <a:rPr lang="ru-RU" sz="1600" b="0" dirty="0" err="1"/>
              <a:t>газоводяной</a:t>
            </a:r>
            <a:r>
              <a:rPr lang="ru-RU" sz="1600" b="0" dirty="0"/>
              <a:t> смеси. Пострадавших нет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3. 11.03.2024 - АО «Сетевая компания </a:t>
            </a:r>
            <a:r>
              <a:rPr lang="ru-RU" sz="1600" b="0" dirty="0" err="1"/>
              <a:t>Алтайкрайэнерго</a:t>
            </a:r>
            <a:r>
              <a:rPr lang="ru-RU" sz="1600" b="0" dirty="0"/>
              <a:t>» филиал «</a:t>
            </a:r>
            <a:r>
              <a:rPr lang="ru-RU" sz="1600" b="0" dirty="0" err="1"/>
              <a:t>Бийские</a:t>
            </a:r>
            <a:r>
              <a:rPr lang="ru-RU" sz="1600" b="0" dirty="0"/>
              <a:t> межрайонные электрические сети» (Алтайский край), отрыв стойки стрелы поворотной платформы автоподъемника. Пострадало 2 работника находящихся в люльке подъемника (2 легких случая, расследование комиссией предприятия).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4. 14.03.2024 - Муниципальное предприятии г. Киселевска «Исток» (Кемеровская обл.) нарушение теплоснабжения потребителей в результате повреждения теплосети грузовым автомобилем. Пострадавших нет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8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33</TotalTime>
  <Words>890</Words>
  <Application>Microsoft Office PowerPoint</Application>
  <PresentationFormat>Лист A4 (210x297 мм)</PresentationFormat>
  <Paragraphs>252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61</cp:revision>
  <cp:lastPrinted>2020-12-16T06:16:08Z</cp:lastPrinted>
  <dcterms:created xsi:type="dcterms:W3CDTF">2012-04-16T06:44:06Z</dcterms:created>
  <dcterms:modified xsi:type="dcterms:W3CDTF">2024-08-14T03:33:09Z</dcterms:modified>
</cp:coreProperties>
</file>